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82" d="100"/>
          <a:sy n="82" d="100"/>
        </p:scale>
        <p:origin x="557" y="5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06740995511648</c:v>
                </c:pt>
                <c:pt idx="1">
                  <c:v>21.783198741283481</c:v>
                </c:pt>
                <c:pt idx="2">
                  <c:v>23.365275836474666</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8813200000000005</c:v>
                </c:pt>
                <c:pt idx="1">
                  <c:v>2.0337299999999985</c:v>
                </c:pt>
                <c:pt idx="2">
                  <c:v>1.8230959999999996</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94872995511648</c:v>
                </c:pt>
                <c:pt idx="1">
                  <c:v>23.81692874128348</c:v>
                </c:pt>
                <c:pt idx="2">
                  <c:v>25.188371836474666</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8.424357420292218</c:v>
                </c:pt>
                <c:pt idx="1">
                  <c:v>63.569435239086069</c:v>
                </c:pt>
                <c:pt idx="2">
                  <c:v>66.72089784712643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5672434872566536</c:v>
                </c:pt>
                <c:pt idx="1">
                  <c:v>48.694104560622911</c:v>
                </c:pt>
                <c:pt idx="2">
                  <c:v>49.51696329254727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0.991600907548872</c:v>
                </c:pt>
                <c:pt idx="1">
                  <c:v>112.26353979970898</c:v>
                </c:pt>
                <c:pt idx="2">
                  <c:v>116.23786113967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66.720897847126437</c:v>
                </c:pt>
                <c:pt idx="2">
                  <c:v>76.386406427469993</c:v>
                </c:pt>
                <c:pt idx="3">
                  <c:v>111.76809288952259</c:v>
                </c:pt>
                <c:pt idx="4">
                  <c:v>103.02584298094536</c:v>
                </c:pt>
                <c:pt idx="5">
                  <c:v>61.504684430820205</c:v>
                </c:pt>
                <c:pt idx="7">
                  <c:v>88.171256682189536</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49.516963292547274</c:v>
                </c:pt>
                <c:pt idx="2">
                  <c:v>98.180085137886365</c:v>
                </c:pt>
                <c:pt idx="3">
                  <c:v>96.245038345340461</c:v>
                </c:pt>
                <c:pt idx="4">
                  <c:v>101.87533400902976</c:v>
                </c:pt>
                <c:pt idx="5">
                  <c:v>54.894435539271811</c:v>
                </c:pt>
                <c:pt idx="7">
                  <c:v>87.798723257882088</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116.2378611396737</c:v>
                </c:pt>
                <c:pt idx="2">
                  <c:v>174.56649156535636</c:v>
                </c:pt>
                <c:pt idx="3">
                  <c:v>208.01313123486307</c:v>
                </c:pt>
                <c:pt idx="4">
                  <c:v>204.90117698997508</c:v>
                </c:pt>
                <c:pt idx="5">
                  <c:v>116.39911997009202</c:v>
                </c:pt>
                <c:pt idx="7">
                  <c:v>175.96997994007162</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2970473848999342</c:v>
                </c:pt>
                <c:pt idx="2">
                  <c:v>1.384420923146882</c:v>
                </c:pt>
                <c:pt idx="3">
                  <c:v>1.386112942353082</c:v>
                </c:pt>
                <c:pt idx="4">
                  <c:v>1.426169134718521</c:v>
                </c:pt>
                <c:pt idx="6">
                  <c:v>2.4176931832794302</c:v>
                </c:pt>
                <c:pt idx="7">
                  <c:v>2.4176931832794302</c:v>
                </c:pt>
                <c:pt idx="8">
                  <c:v>2.4232305592451637</c:v>
                </c:pt>
                <c:pt idx="9">
                  <c:v>2.49019409194959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2424523848999343</c:v>
                </c:pt>
                <c:pt idx="5">
                  <c:v>1.3715741347185211</c:v>
                </c:pt>
                <c:pt idx="10">
                  <c:v>1.439570091949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7373538246947893E-2</c:v>
                </c:pt>
                <c:pt idx="2">
                  <c:v>1.6920192061999656E-3</c:v>
                </c:pt>
                <c:pt idx="3">
                  <c:v>4.0056192365438961E-2</c:v>
                </c:pt>
                <c:pt idx="7">
                  <c:v>5.5373759657335814E-3</c:v>
                </c:pt>
                <c:pt idx="8">
                  <c:v>6.6963532704436141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4.50495143909084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5.4594999999999998E-2</c:v>
                </c:pt>
                <c:pt idx="5">
                  <c:v>1.050624</c:v>
                </c:pt>
                <c:pt idx="10">
                  <c:v>1.06837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99602900000000005</c:v>
                </c:pt>
                <c:pt idx="9">
                  <c:v>1.7754000000000048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2970473848999342</c:v>
                </c:pt>
                <c:pt idx="5">
                  <c:v>2.4221981347185211</c:v>
                </c:pt>
                <c:pt idx="10">
                  <c:v>2.50794809194959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Klantenpotentieel regionaal</c:v>
                </c:pt>
                <c:pt idx="4">
                  <c:v>Eenpersoonshuishoudens</c:v>
                </c:pt>
                <c:pt idx="5">
                  <c:v>Re-integratie klassiek</c:v>
                </c:pt>
                <c:pt idx="6">
                  <c:v>Omgevingsadressendichtheid</c:v>
                </c:pt>
                <c:pt idx="7">
                  <c:v>Loonkostensubsidie</c:v>
                </c:pt>
                <c:pt idx="10">
                  <c:v>Overig</c:v>
                </c:pt>
              </c:strCache>
            </c:strRef>
          </c:cat>
          <c:val>
            <c:numRef>
              <c:f>Sheet1!$B$2:$B$12</c:f>
              <c:numCache>
                <c:formatCode>General</c:formatCode>
                <c:ptCount val="11"/>
                <c:pt idx="0">
                  <c:v>0.51035894207999999</c:v>
                </c:pt>
                <c:pt idx="1">
                  <c:v>0.34124286144000004</c:v>
                </c:pt>
                <c:pt idx="2">
                  <c:v>0.26641872192000005</c:v>
                </c:pt>
                <c:pt idx="3">
                  <c:v>8.8112081199999998E-2</c:v>
                </c:pt>
                <c:pt idx="4">
                  <c:v>7.0908575400000021E-2</c:v>
                </c:pt>
                <c:pt idx="5">
                  <c:v>5.9278214309600008E-2</c:v>
                </c:pt>
                <c:pt idx="6">
                  <c:v>5.2847711280000008E-2</c:v>
                </c:pt>
                <c:pt idx="7">
                  <c:v>5.040298432000000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0.99267499999999997</c:v>
                </c:pt>
                <c:pt idx="1">
                  <c:v>5.9906000000000001E-2</c:v>
                </c:pt>
                <c:pt idx="2">
                  <c:v>1.5796999999999999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44059590990046676</c:v>
                </c:pt>
                <c:pt idx="1">
                  <c:v>0.46231610608269313</c:v>
                </c:pt>
                <c:pt idx="2">
                  <c:v>0.5071289889639997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4754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44059590990046676</c:v>
                </c:pt>
                <c:pt idx="1">
                  <c:v>0.46231610608269313</c:v>
                </c:pt>
                <c:pt idx="2">
                  <c:v>0.5318839889639996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71832549141666</c:v>
                </c:pt>
                <c:pt idx="1">
                  <c:v>21.427331575949811</c:v>
                </c:pt>
                <c:pt idx="2">
                  <c:v>23.5043098333333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47339636633296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71832549141666</c:v>
                </c:pt>
                <c:pt idx="1">
                  <c:v>21.427331575949811</c:v>
                </c:pt>
                <c:pt idx="2">
                  <c:v>24.65164946996661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23.50430983333332</c:v>
                </c:pt>
                <c:pt idx="2">
                  <c:v>22.309563836535876</c:v>
                </c:pt>
                <c:pt idx="3">
                  <c:v>25.521271407387712</c:v>
                </c:pt>
                <c:pt idx="4">
                  <c:v>26.104010717184199</c:v>
                </c:pt>
                <c:pt idx="5">
                  <c:v>20.001033028855815</c:v>
                </c:pt>
                <c:pt idx="7">
                  <c:v>23.483969747490899</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1.1473396366332962</c:v>
                </c:pt>
                <c:pt idx="2">
                  <c:v>1.1594021839718676</c:v>
                </c:pt>
                <c:pt idx="3">
                  <c:v>1.1641645363699744</c:v>
                </c:pt>
                <c:pt idx="4">
                  <c:v>1.1621210725145121</c:v>
                </c:pt>
                <c:pt idx="5">
                  <c:v>1.1657888710785436</c:v>
                </c:pt>
                <c:pt idx="7">
                  <c:v>1.1628691659837243</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24.651649469966614</c:v>
                </c:pt>
                <c:pt idx="2">
                  <c:v>23.468966020507743</c:v>
                </c:pt>
                <c:pt idx="3">
                  <c:v>26.685435943757685</c:v>
                </c:pt>
                <c:pt idx="4">
                  <c:v>27.266131789698715</c:v>
                </c:pt>
                <c:pt idx="5">
                  <c:v>21.166821899934359</c:v>
                </c:pt>
                <c:pt idx="7">
                  <c:v>24.646838913474628</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43545998259021435</c:v>
                </c:pt>
                <c:pt idx="2">
                  <c:v>0.43545998259021435</c:v>
                </c:pt>
                <c:pt idx="3">
                  <c:v>0.4515019475328243</c:v>
                </c:pt>
                <c:pt idx="4">
                  <c:v>0.46231610608269313</c:v>
                </c:pt>
                <c:pt idx="6">
                  <c:v>0.46231610608269313</c:v>
                </c:pt>
                <c:pt idx="7">
                  <c:v>0.46238759677783986</c:v>
                </c:pt>
                <c:pt idx="8">
                  <c:v>0.48403503556119498</c:v>
                </c:pt>
                <c:pt idx="9">
                  <c:v>0.5071289889639997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44059590990046676</c:v>
                </c:pt>
                <c:pt idx="5">
                  <c:v>0.46231610608269313</c:v>
                </c:pt>
                <c:pt idx="10">
                  <c:v>0.5071289889639997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6041964942609961E-2</c:v>
                </c:pt>
                <c:pt idx="3">
                  <c:v>1.0814158549868827E-2</c:v>
                </c:pt>
                <c:pt idx="6">
                  <c:v>7.1490695146745269E-5</c:v>
                </c:pt>
                <c:pt idx="7">
                  <c:v>2.1647438783355129E-2</c:v>
                </c:pt>
                <c:pt idx="8">
                  <c:v>2.3093953402804714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135927310252416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4754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4754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44059590990046676</c:v>
                </c:pt>
                <c:pt idx="5">
                  <c:v>0.46231610608269313</c:v>
                </c:pt>
                <c:pt idx="10">
                  <c:v>0.5318839889639996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Minderheden</c:v>
                </c:pt>
                <c:pt idx="4">
                  <c:v>Omgevingsadressendichtheid</c:v>
                </c:pt>
                <c:pt idx="5">
                  <c:v>Eenouderhuishoudens</c:v>
                </c:pt>
                <c:pt idx="6">
                  <c:v>Huishoudens</c:v>
                </c:pt>
                <c:pt idx="7">
                  <c:v>Klantenpotentieel lokaal</c:v>
                </c:pt>
                <c:pt idx="8">
                  <c:v>Bijstandsontvangers</c:v>
                </c:pt>
                <c:pt idx="9">
                  <c:v>Klantenpotentieel regionaal</c:v>
                </c:pt>
                <c:pt idx="10">
                  <c:v>Overig</c:v>
                </c:pt>
              </c:strCache>
            </c:strRef>
          </c:cat>
          <c:val>
            <c:numRef>
              <c:f>Sheet1!$B$2:$B$12</c:f>
              <c:numCache>
                <c:formatCode>General</c:formatCode>
                <c:ptCount val="11"/>
                <c:pt idx="0">
                  <c:v>0.14110453396</c:v>
                </c:pt>
                <c:pt idx="1">
                  <c:v>0.10329812064</c:v>
                </c:pt>
                <c:pt idx="2">
                  <c:v>5.5198861640000006E-2</c:v>
                </c:pt>
                <c:pt idx="3">
                  <c:v>3.8785203599999998E-2</c:v>
                </c:pt>
                <c:pt idx="4">
                  <c:v>3.7678460820000002E-2</c:v>
                </c:pt>
                <c:pt idx="5">
                  <c:v>2.9819162880000003E-2</c:v>
                </c:pt>
                <c:pt idx="6">
                  <c:v>2.4553339200000003E-2</c:v>
                </c:pt>
                <c:pt idx="7">
                  <c:v>1.6295385600000004E-2</c:v>
                </c:pt>
                <c:pt idx="8">
                  <c:v>1.3939866720000004E-2</c:v>
                </c:pt>
                <c:pt idx="9">
                  <c:v>1.3181324000000001E-2</c:v>
                </c:pt>
                <c:pt idx="10">
                  <c:v>3.327472990399971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61.49769374195807</c:v>
                </c:pt>
                <c:pt idx="1">
                  <c:v>1009.603204545953</c:v>
                </c:pt>
                <c:pt idx="2">
                  <c:v>1082.9289876007908</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70.6066020878398</c:v>
                </c:pt>
                <c:pt idx="1">
                  <c:v>94.258898776418164</c:v>
                </c:pt>
                <c:pt idx="2">
                  <c:v>84.496477567667753</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32.1042958297978</c:v>
                </c:pt>
                <c:pt idx="1">
                  <c:v>1103.8621033223712</c:v>
                </c:pt>
                <c:pt idx="2">
                  <c:v>1167.4254651684587</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4754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77641453498473345</c:v>
                </c:pt>
                <c:pt idx="1">
                  <c:v>4.4009693128734657</c:v>
                </c:pt>
                <c:pt idx="2">
                  <c:v>4.518731511432503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40960099999999999</c:v>
                </c:pt>
                <c:pt idx="2">
                  <c:v>0.3804390000000000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77641453498473345</c:v>
                </c:pt>
                <c:pt idx="1">
                  <c:v>4.810570312873466</c:v>
                </c:pt>
                <c:pt idx="2">
                  <c:v>4.899170511432503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8.49706296552506</c:v>
                </c:pt>
                <c:pt idx="1">
                  <c:v>871.30653590842724</c:v>
                </c:pt>
                <c:pt idx="2">
                  <c:v>894.6211663893294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81.093050881013667</c:v>
                </c:pt>
                <c:pt idx="2">
                  <c:v>75.31954068501286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8.49706296552506</c:v>
                </c:pt>
                <c:pt idx="1">
                  <c:v>952.39958678944095</c:v>
                </c:pt>
                <c:pt idx="2">
                  <c:v>969.9407070743424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894.62116638932946</c:v>
                </c:pt>
                <c:pt idx="2">
                  <c:v>977.07905576338646</c:v>
                </c:pt>
                <c:pt idx="3">
                  <c:v>1079.2653703907563</c:v>
                </c:pt>
                <c:pt idx="4">
                  <c:v>1275.2269830063774</c:v>
                </c:pt>
                <c:pt idx="5">
                  <c:v>833.15148775009391</c:v>
                </c:pt>
                <c:pt idx="7">
                  <c:v>1041.1807242276534</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75.319540685012868</c:v>
                </c:pt>
                <c:pt idx="2">
                  <c:v>300.47847959754051</c:v>
                </c:pt>
                <c:pt idx="3">
                  <c:v>97.690736342042754</c:v>
                </c:pt>
                <c:pt idx="4">
                  <c:v>390.76181859307849</c:v>
                </c:pt>
                <c:pt idx="5">
                  <c:v>123.03398177788722</c:v>
                </c:pt>
                <c:pt idx="7">
                  <c:v>227.99125407763725</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969.94070707434241</c:v>
                </c:pt>
                <c:pt idx="2">
                  <c:v>1277.557535360927</c:v>
                </c:pt>
                <c:pt idx="3">
                  <c:v>1176.9561067327991</c:v>
                </c:pt>
                <c:pt idx="4">
                  <c:v>1665.9888015994559</c:v>
                </c:pt>
                <c:pt idx="5">
                  <c:v>956.18546952798113</c:v>
                </c:pt>
                <c:pt idx="7">
                  <c:v>1269.1719783052906</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7363173201823382</c:v>
                </c:pt>
                <c:pt idx="2">
                  <c:v>0.7363173201823382</c:v>
                </c:pt>
                <c:pt idx="3">
                  <c:v>4.3798868742036614</c:v>
                </c:pt>
                <c:pt idx="4">
                  <c:v>4.4009693128734657</c:v>
                </c:pt>
                <c:pt idx="6">
                  <c:v>4.810570312873466</c:v>
                </c:pt>
                <c:pt idx="7">
                  <c:v>4.7216540040003636</c:v>
                </c:pt>
                <c:pt idx="8">
                  <c:v>4.7216540040003636</c:v>
                </c:pt>
                <c:pt idx="9">
                  <c:v>4.899170511432503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77641453498473345</c:v>
                </c:pt>
                <c:pt idx="5">
                  <c:v>4.4009693128734657</c:v>
                </c:pt>
                <c:pt idx="10">
                  <c:v>4.518731511432503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6435695540213233</c:v>
                </c:pt>
                <c:pt idx="3">
                  <c:v>2.1082438669804471E-2</c:v>
                </c:pt>
                <c:pt idx="6">
                  <c:v>2.2763871031576941E-3</c:v>
                </c:pt>
                <c:pt idx="8">
                  <c:v>0.2066785074321398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0097214802395302E-2</c:v>
                </c:pt>
                <c:pt idx="7">
                  <c:v>9.1192695976259897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40960099999999999</c:v>
                </c:pt>
                <c:pt idx="10">
                  <c:v>0.38043900000000003</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409600999999999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2.9161999999999966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77641453498473345</c:v>
                </c:pt>
                <c:pt idx="5">
                  <c:v>4.810570312873466</c:v>
                </c:pt>
                <c:pt idx="10">
                  <c:v>4.899170511432503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 kinderen)</c:v>
                </c:pt>
                <c:pt idx="2">
                  <c:v>Gem. Gestand. inkomen (huishoudens)</c:v>
                </c:pt>
                <c:pt idx="3">
                  <c:v>Ouders lang psychisch medicijngebruik</c:v>
                </c:pt>
                <c:pt idx="4">
                  <c:v>Uitkeringsont. min. bijstandsont.</c:v>
                </c:pt>
                <c:pt idx="5">
                  <c:v>Eenouderhuishoudens</c:v>
                </c:pt>
                <c:pt idx="6">
                  <c:v>BO leerlingen, leerlingengewicht 0,3</c:v>
                </c:pt>
                <c:pt idx="7">
                  <c:v>Eenouderhuishoudens 2 of meer kinderen</c:v>
                </c:pt>
                <c:pt idx="8">
                  <c:v>BO leerlingen, leerlingengewicht 1,2</c:v>
                </c:pt>
                <c:pt idx="9">
                  <c:v>Jeugdigen in gezinnen armoederisico</c:v>
                </c:pt>
                <c:pt idx="10">
                  <c:v>Overig</c:v>
                </c:pt>
              </c:strCache>
            </c:strRef>
          </c:cat>
          <c:val>
            <c:numRef>
              <c:f>Sheet1!$B$2:$B$12</c:f>
              <c:numCache>
                <c:formatCode>General</c:formatCode>
                <c:ptCount val="11"/>
                <c:pt idx="0">
                  <c:v>4.1527723863599997</c:v>
                </c:pt>
                <c:pt idx="1">
                  <c:v>-1.4056822014143999</c:v>
                </c:pt>
                <c:pt idx="2">
                  <c:v>-1.1468357759871999</c:v>
                </c:pt>
                <c:pt idx="3">
                  <c:v>1.1298846097234896</c:v>
                </c:pt>
                <c:pt idx="4">
                  <c:v>1.1115011138400002</c:v>
                </c:pt>
                <c:pt idx="5">
                  <c:v>0.47324167488000013</c:v>
                </c:pt>
                <c:pt idx="6">
                  <c:v>-0.41030429439999999</c:v>
                </c:pt>
                <c:pt idx="7">
                  <c:v>0.34952170655999998</c:v>
                </c:pt>
                <c:pt idx="8">
                  <c:v>-0.23346605672000001</c:v>
                </c:pt>
                <c:pt idx="9">
                  <c:v>0.10908479673728</c:v>
                </c:pt>
                <c:pt idx="10">
                  <c:v>0.38901355185333486</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40141300000000002</c:v>
                </c:pt>
                <c:pt idx="1">
                  <c:v>0</c:v>
                </c:pt>
                <c:pt idx="6">
                  <c:v>-2.097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437879606433673</c:v>
                </c:pt>
                <c:pt idx="1">
                  <c:v>5.6292054409233643</c:v>
                </c:pt>
                <c:pt idx="2">
                  <c:v>6.071923636699437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674220000000001</c:v>
                </c:pt>
                <c:pt idx="1">
                  <c:v>0</c:v>
                </c:pt>
                <c:pt idx="2">
                  <c:v>1.8960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3112099606433674</c:v>
                </c:pt>
                <c:pt idx="1">
                  <c:v>5.6292054409233643</c:v>
                </c:pt>
                <c:pt idx="2">
                  <c:v>6.0908836366994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5.51057841829058</c:v>
                </c:pt>
                <c:pt idx="1">
                  <c:v>260.90125328714146</c:v>
                </c:pt>
                <c:pt idx="2">
                  <c:v>281.420264956406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0.193830527602749</c:v>
                </c:pt>
                <c:pt idx="1">
                  <c:v>0</c:v>
                </c:pt>
                <c:pt idx="2">
                  <c:v>0.8787541713014460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5.70440894589333</c:v>
                </c:pt>
                <c:pt idx="1">
                  <c:v>260.90125328714146</c:v>
                </c:pt>
                <c:pt idx="2">
                  <c:v>282.2990191277084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281.42026495640698</c:v>
                </c:pt>
                <c:pt idx="2">
                  <c:v>396.75471606573478</c:v>
                </c:pt>
                <c:pt idx="3">
                  <c:v>380.31752421055268</c:v>
                </c:pt>
                <c:pt idx="4">
                  <c:v>363.83416218937384</c:v>
                </c:pt>
                <c:pt idx="5">
                  <c:v>330.31976838430893</c:v>
                </c:pt>
                <c:pt idx="7">
                  <c:v>367.80654271249256</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0.87875417130144606</c:v>
                </c:pt>
                <c:pt idx="2">
                  <c:v>1.4255968906163243</c:v>
                </c:pt>
                <c:pt idx="3">
                  <c:v>0.66093423193121081</c:v>
                </c:pt>
                <c:pt idx="4">
                  <c:v>0.98267760066341103</c:v>
                </c:pt>
                <c:pt idx="5">
                  <c:v>1.0854133272269293</c:v>
                </c:pt>
                <c:pt idx="7">
                  <c:v>1.0386555126094688</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282.29901912770845</c:v>
                </c:pt>
                <c:pt idx="2">
                  <c:v>398.1803129563512</c:v>
                </c:pt>
                <c:pt idx="3">
                  <c:v>380.97845844248388</c:v>
                </c:pt>
                <c:pt idx="4">
                  <c:v>364.81683979003725</c:v>
                </c:pt>
                <c:pt idx="5">
                  <c:v>331.40518171153587</c:v>
                </c:pt>
                <c:pt idx="7">
                  <c:v>368.84519822510208</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60466958533359916</c:v>
                </c:pt>
                <c:pt idx="1">
                  <c:v>0.61731808211853223</c:v>
                </c:pt>
                <c:pt idx="2">
                  <c:v>0.62556942988733066</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60466958533359916</c:v>
                </c:pt>
                <c:pt idx="1">
                  <c:v>0.61731808211853223</c:v>
                </c:pt>
                <c:pt idx="2">
                  <c:v>0.62556942988733066</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3112099606433674</c:v>
                </c:pt>
                <c:pt idx="2">
                  <c:v>3.506893399349897</c:v>
                </c:pt>
                <c:pt idx="3">
                  <c:v>6.4119679283109861</c:v>
                </c:pt>
                <c:pt idx="4">
                  <c:v>5.6292054409233625</c:v>
                </c:pt>
                <c:pt idx="6">
                  <c:v>5.6292054409233643</c:v>
                </c:pt>
                <c:pt idx="7">
                  <c:v>5.7844283420919966</c:v>
                </c:pt>
                <c:pt idx="8">
                  <c:v>5.792115948899287</c:v>
                </c:pt>
                <c:pt idx="9">
                  <c:v>6.07192363669943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437879606433673</c:v>
                </c:pt>
                <c:pt idx="5">
                  <c:v>5.6292054409233643</c:v>
                </c:pt>
                <c:pt idx="10">
                  <c:v>6.071923636699437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9568343870652963</c:v>
                </c:pt>
                <c:pt idx="2">
                  <c:v>2.9050745289610895</c:v>
                </c:pt>
                <c:pt idx="3">
                  <c:v>0.28465951261237737</c:v>
                </c:pt>
                <c:pt idx="6">
                  <c:v>0.15522290116863197</c:v>
                </c:pt>
                <c:pt idx="7">
                  <c:v>7.6876068072901857E-3</c:v>
                </c:pt>
                <c:pt idx="8">
                  <c:v>0.279807687800150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0674220000000001</c:v>
                </c:pt>
                <c:pt idx="5">
                  <c:v>0</c:v>
                </c:pt>
                <c:pt idx="10">
                  <c:v>1.8960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8960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067422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3112099606433674</c:v>
                </c:pt>
                <c:pt idx="5">
                  <c:v>5.6292054409233643</c:v>
                </c:pt>
                <c:pt idx="10">
                  <c:v>6.09088363669943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Wajong</c:v>
                </c:pt>
                <c:pt idx="5">
                  <c:v>Klantenpotentieel lokaal</c:v>
                </c:pt>
                <c:pt idx="6">
                  <c:v>Uitkeringsont. min bijstandsont.</c:v>
                </c:pt>
                <c:pt idx="7">
                  <c:v>Huishoudens</c:v>
                </c:pt>
                <c:pt idx="8">
                  <c:v>Gem. gestandaardiseerd inkomen 75 t/m 84</c:v>
                </c:pt>
                <c:pt idx="9">
                  <c:v>Uitkeringsontvangers</c:v>
                </c:pt>
                <c:pt idx="10">
                  <c:v>Overig</c:v>
                </c:pt>
              </c:strCache>
            </c:strRef>
          </c:cat>
          <c:val>
            <c:numRef>
              <c:f>Sheet1!$B$2:$B$12</c:f>
              <c:numCache>
                <c:formatCode>General</c:formatCode>
                <c:ptCount val="11"/>
                <c:pt idx="0">
                  <c:v>1.3890344006864586</c:v>
                </c:pt>
                <c:pt idx="1">
                  <c:v>1.1807983824000003</c:v>
                </c:pt>
                <c:pt idx="2">
                  <c:v>0.66335408776000004</c:v>
                </c:pt>
                <c:pt idx="3">
                  <c:v>0.55844707828000006</c:v>
                </c:pt>
                <c:pt idx="4">
                  <c:v>0.29042984880000006</c:v>
                </c:pt>
                <c:pt idx="5">
                  <c:v>0.26042440319999999</c:v>
                </c:pt>
                <c:pt idx="6">
                  <c:v>0.24938468568</c:v>
                </c:pt>
                <c:pt idx="7">
                  <c:v>0.23939505720000001</c:v>
                </c:pt>
                <c:pt idx="8">
                  <c:v>0.23101824060057599</c:v>
                </c:pt>
                <c:pt idx="9">
                  <c:v>0.12165813972</c:v>
                </c:pt>
                <c:pt idx="10">
                  <c:v>0.8879793123724022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1.8960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803471212126003</c:v>
                </c:pt>
                <c:pt idx="1">
                  <c:v>1.87028926894568</c:v>
                </c:pt>
                <c:pt idx="2">
                  <c:v>1.97062242181999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2564999999999997E-2</c:v>
                </c:pt>
                <c:pt idx="1">
                  <c:v>3.2564999999999997E-2</c:v>
                </c:pt>
                <c:pt idx="2">
                  <c:v>3.2564999999999997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129121212126003</c:v>
                </c:pt>
                <c:pt idx="1">
                  <c:v>1.90285426894568</c:v>
                </c:pt>
                <c:pt idx="2">
                  <c:v>2.00318742181999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7.57886571755267</c:v>
                </c:pt>
                <c:pt idx="1">
                  <c:v>370.2809877144486</c:v>
                </c:pt>
                <c:pt idx="2">
                  <c:v>390.1450053098395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8089546914020689</c:v>
                </c:pt>
                <c:pt idx="1">
                  <c:v>6.4472381706592747</c:v>
                </c:pt>
                <c:pt idx="2">
                  <c:v>6.447238170659274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3.38782040895472</c:v>
                </c:pt>
                <c:pt idx="1">
                  <c:v>376.72822588510792</c:v>
                </c:pt>
                <c:pt idx="2">
                  <c:v>396.5922434804988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390.14500530983958</c:v>
                </c:pt>
                <c:pt idx="2">
                  <c:v>506.02631238146449</c:v>
                </c:pt>
                <c:pt idx="3">
                  <c:v>555.52882059184799</c:v>
                </c:pt>
                <c:pt idx="4">
                  <c:v>636.38112227405566</c:v>
                </c:pt>
                <c:pt idx="5">
                  <c:v>402.60630410992366</c:v>
                </c:pt>
                <c:pt idx="7">
                  <c:v>525.13563983932295</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6.4472381706592747</c:v>
                </c:pt>
                <c:pt idx="2">
                  <c:v>8.4851872554499721</c:v>
                </c:pt>
                <c:pt idx="3">
                  <c:v>7.6363420427553432</c:v>
                </c:pt>
                <c:pt idx="4">
                  <c:v>7.0823343135037318</c:v>
                </c:pt>
                <c:pt idx="5">
                  <c:v>11.050233932528934</c:v>
                </c:pt>
                <c:pt idx="7">
                  <c:v>8.5635243860594965</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396.59224348049889</c:v>
                </c:pt>
                <c:pt idx="2">
                  <c:v>514.51149963691444</c:v>
                </c:pt>
                <c:pt idx="3">
                  <c:v>563.16516263460335</c:v>
                </c:pt>
                <c:pt idx="4">
                  <c:v>643.46345658755934</c:v>
                </c:pt>
                <c:pt idx="5">
                  <c:v>413.65653804245261</c:v>
                </c:pt>
                <c:pt idx="7">
                  <c:v>533.69916422538245</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7104949008463117</c:v>
                </c:pt>
                <c:pt idx="2">
                  <c:v>1.7104949008463117</c:v>
                </c:pt>
                <c:pt idx="3">
                  <c:v>1.855084796498782</c:v>
                </c:pt>
                <c:pt idx="4">
                  <c:v>1.9028542689456802</c:v>
                </c:pt>
                <c:pt idx="6">
                  <c:v>1.90285426894568</c:v>
                </c:pt>
                <c:pt idx="7">
                  <c:v>1.9115386605363585</c:v>
                </c:pt>
                <c:pt idx="8">
                  <c:v>1.9115386605363585</c:v>
                </c:pt>
                <c:pt idx="9">
                  <c:v>2.0031874218199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7803471212126003</c:v>
                </c:pt>
                <c:pt idx="5">
                  <c:v>1.87028926894568</c:v>
                </c:pt>
                <c:pt idx="10">
                  <c:v>1.97062242181999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4458989565247019</c:v>
                </c:pt>
                <c:pt idx="3">
                  <c:v>4.7769472446898144E-2</c:v>
                </c:pt>
                <c:pt idx="6">
                  <c:v>8.6843915906784103E-3</c:v>
                </c:pt>
                <c:pt idx="8">
                  <c:v>9.1648761283641467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02417220366288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2564999999999997E-2</c:v>
                </c:pt>
                <c:pt idx="5">
                  <c:v>3.2564999999999997E-2</c:v>
                </c:pt>
                <c:pt idx="10">
                  <c:v>3.256499999999999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8129121212126003</c:v>
                </c:pt>
                <c:pt idx="5">
                  <c:v>1.90285426894568</c:v>
                </c:pt>
                <c:pt idx="10">
                  <c:v>2.00318742181999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Huishoudens laag inkomen (drempel)</c:v>
                </c:pt>
                <c:pt idx="3">
                  <c:v>Minderheden</c:v>
                </c:pt>
                <c:pt idx="4">
                  <c:v>Omgevingsadressendichtheid</c:v>
                </c:pt>
                <c:pt idx="5">
                  <c:v>Land</c:v>
                </c:pt>
                <c:pt idx="6">
                  <c:v>Inwoners</c:v>
                </c:pt>
                <c:pt idx="7">
                  <c:v>Extra groei leerlingen VO</c:v>
                </c:pt>
                <c:pt idx="8">
                  <c:v>Kernen</c:v>
                </c:pt>
                <c:pt idx="9">
                  <c:v>Binnenwater</c:v>
                </c:pt>
                <c:pt idx="10">
                  <c:v>Overig</c:v>
                </c:pt>
              </c:strCache>
            </c:strRef>
          </c:cat>
          <c:val>
            <c:numRef>
              <c:f>Sheet1!$B$2:$B$12</c:f>
              <c:numCache>
                <c:formatCode>General</c:formatCode>
                <c:ptCount val="11"/>
                <c:pt idx="0">
                  <c:v>1.4867679112000001</c:v>
                </c:pt>
                <c:pt idx="1">
                  <c:v>0.18293196521599997</c:v>
                </c:pt>
                <c:pt idx="2">
                  <c:v>7.7624562340000008E-2</c:v>
                </c:pt>
                <c:pt idx="3">
                  <c:v>5.3778738000000006E-2</c:v>
                </c:pt>
                <c:pt idx="4">
                  <c:v>4.6649522920000006E-2</c:v>
                </c:pt>
                <c:pt idx="5">
                  <c:v>4.2095123200000001E-2</c:v>
                </c:pt>
                <c:pt idx="6">
                  <c:v>3.6171732480000003E-2</c:v>
                </c:pt>
                <c:pt idx="7">
                  <c:v>2.3536928064000002E-2</c:v>
                </c:pt>
                <c:pt idx="8">
                  <c:v>1.4257140559999999E-2</c:v>
                </c:pt>
                <c:pt idx="9">
                  <c:v>6.0990342400000005E-3</c:v>
                </c:pt>
                <c:pt idx="10">
                  <c:v>7.0976359999974648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3.2564999999999997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1354395062293331</c:v>
                </c:pt>
                <c:pt idx="1">
                  <c:v>0.16601907668194663</c:v>
                </c:pt>
                <c:pt idx="2">
                  <c:v>0.17413812800800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1354395062293331</c:v>
                </c:pt>
                <c:pt idx="1">
                  <c:v>0.16601907668194663</c:v>
                </c:pt>
                <c:pt idx="2">
                  <c:v>0.17413812800800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519837262000001</c:v>
                </c:pt>
                <c:pt idx="1">
                  <c:v>-3.2802701053800001</c:v>
                </c:pt>
                <c:pt idx="2">
                  <c:v>-3.071565764999999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519837262000001</c:v>
                </c:pt>
                <c:pt idx="1">
                  <c:v>-3.2802701053800001</c:v>
                </c:pt>
                <c:pt idx="2">
                  <c:v>-3.071565764999999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3392246131352064</c:v>
                </c:pt>
                <c:pt idx="1">
                  <c:v>7.6946179403942638</c:v>
                </c:pt>
                <c:pt idx="2">
                  <c:v>8.070918057471265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3392246131352064</c:v>
                </c:pt>
                <c:pt idx="1">
                  <c:v>7.6946179403942638</c:v>
                </c:pt>
                <c:pt idx="2">
                  <c:v>8.070918057471265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8.0709180574712658</c:v>
                </c:pt>
                <c:pt idx="2">
                  <c:v>7.1190111040878534</c:v>
                </c:pt>
                <c:pt idx="3">
                  <c:v>8.1861503902678745</c:v>
                </c:pt>
                <c:pt idx="4">
                  <c:v>8.4032130840873478</c:v>
                </c:pt>
                <c:pt idx="5">
                  <c:v>6.7614143298252056</c:v>
                </c:pt>
                <c:pt idx="7">
                  <c:v>7.6174472270670712</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8.0709180574712658</c:v>
                </c:pt>
                <c:pt idx="2">
                  <c:v>7.1190111040878534</c:v>
                </c:pt>
                <c:pt idx="3">
                  <c:v>8.1861503902678745</c:v>
                </c:pt>
                <c:pt idx="4">
                  <c:v>8.4032130840873478</c:v>
                </c:pt>
                <c:pt idx="5">
                  <c:v>6.7614143298252056</c:v>
                </c:pt>
                <c:pt idx="7">
                  <c:v>7.6174472270670712</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1212812352185574</c:v>
                </c:pt>
                <c:pt idx="2">
                  <c:v>0.11212812352185574</c:v>
                </c:pt>
                <c:pt idx="3">
                  <c:v>0.16268408146179453</c:v>
                </c:pt>
                <c:pt idx="4">
                  <c:v>0.1660190766819466</c:v>
                </c:pt>
                <c:pt idx="6">
                  <c:v>0.16601907668194663</c:v>
                </c:pt>
                <c:pt idx="7">
                  <c:v>0.16603616971380261</c:v>
                </c:pt>
                <c:pt idx="8">
                  <c:v>0.16603616971380261</c:v>
                </c:pt>
                <c:pt idx="9">
                  <c:v>0.17413812800800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1354395062293331</c:v>
                </c:pt>
                <c:pt idx="5">
                  <c:v>0.16601907668194663</c:v>
                </c:pt>
                <c:pt idx="10">
                  <c:v>0.17413812800800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0555957939938806E-2</c:v>
                </c:pt>
                <c:pt idx="3">
                  <c:v>3.3349952201520787E-3</c:v>
                </c:pt>
                <c:pt idx="6">
                  <c:v>1.7093031855973728E-5</c:v>
                </c:pt>
                <c:pt idx="8">
                  <c:v>8.101958294197421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415827101077568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1354395062293331</c:v>
                </c:pt>
                <c:pt idx="5">
                  <c:v>0.16601907668194663</c:v>
                </c:pt>
                <c:pt idx="10">
                  <c:v>0.17413812800800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Minderheden</c:v>
                </c:pt>
                <c:pt idx="4">
                  <c:v>Omgevingsadressendichtheid</c:v>
                </c:pt>
                <c:pt idx="5">
                  <c:v>Eenouderhuishoudens</c:v>
                </c:pt>
                <c:pt idx="6">
                  <c:v>Huishoudens</c:v>
                </c:pt>
                <c:pt idx="7">
                  <c:v>Klantenpotentieel lokaal</c:v>
                </c:pt>
                <c:pt idx="8">
                  <c:v>Bijstandsontvangers</c:v>
                </c:pt>
                <c:pt idx="9">
                  <c:v>Klantenpotentieel regionaal</c:v>
                </c:pt>
                <c:pt idx="10">
                  <c:v>Overig</c:v>
                </c:pt>
              </c:strCache>
            </c:strRef>
          </c:cat>
          <c:val>
            <c:numRef>
              <c:f>Sheet1!$B$2:$B$12</c:f>
              <c:numCache>
                <c:formatCode>General</c:formatCode>
                <c:ptCount val="11"/>
                <c:pt idx="0">
                  <c:v>8.345767300000001E-2</c:v>
                </c:pt>
                <c:pt idx="1">
                  <c:v>2.6780994240000005E-2</c:v>
                </c:pt>
                <c:pt idx="2">
                  <c:v>1.3436809880000001E-2</c:v>
                </c:pt>
                <c:pt idx="3">
                  <c:v>9.4321344000000019E-3</c:v>
                </c:pt>
                <c:pt idx="4">
                  <c:v>9.1341723200000016E-3</c:v>
                </c:pt>
                <c:pt idx="5">
                  <c:v>7.2632851200000008E-3</c:v>
                </c:pt>
                <c:pt idx="6">
                  <c:v>6.0019273600000009E-3</c:v>
                </c:pt>
                <c:pt idx="7">
                  <c:v>3.9229631999999999E-3</c:v>
                </c:pt>
                <c:pt idx="8">
                  <c:v>3.3191402400000003E-3</c:v>
                </c:pt>
                <c:pt idx="9">
                  <c:v>3.1432388000000007E-3</c:v>
                </c:pt>
                <c:pt idx="10">
                  <c:v>8.245789448000029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5280701419000002</c:v>
                </c:pt>
                <c:pt idx="1">
                  <c:v>3.7024466848600004</c:v>
                </c:pt>
                <c:pt idx="2">
                  <c:v>3.88311259336000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1417000000000002E-2</c:v>
                </c:pt>
                <c:pt idx="1">
                  <c:v>9.7939999999999999E-2</c:v>
                </c:pt>
                <c:pt idx="2">
                  <c:v>0.10021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5694871419000003</c:v>
                </c:pt>
                <c:pt idx="1">
                  <c:v>3.8003866848600003</c:v>
                </c:pt>
                <c:pt idx="2">
                  <c:v>3.98333059336000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179.97370195402303</c:v>
                </c:pt>
                <c:pt idx="2">
                  <c:v>184.54738767906719</c:v>
                </c:pt>
                <c:pt idx="3">
                  <c:v>194.46669152870092</c:v>
                </c:pt>
                <c:pt idx="4">
                  <c:v>201.3602507546301</c:v>
                </c:pt>
                <c:pt idx="5">
                  <c:v>176.22773803526448</c:v>
                </c:pt>
                <c:pt idx="7">
                  <c:v>189.15051699941566</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4.6448832035595107</c:v>
                </c:pt>
                <c:pt idx="2">
                  <c:v>1.6665741254858413</c:v>
                </c:pt>
                <c:pt idx="3">
                  <c:v>3.5533813618405765</c:v>
                </c:pt>
                <c:pt idx="4">
                  <c:v>4.832995485119322</c:v>
                </c:pt>
                <c:pt idx="5">
                  <c:v>4.2030226700251889</c:v>
                </c:pt>
                <c:pt idx="7">
                  <c:v>3.5639934106177318</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184.61858515758254</c:v>
                </c:pt>
                <c:pt idx="2">
                  <c:v>186.21396180455304</c:v>
                </c:pt>
                <c:pt idx="3">
                  <c:v>198.02007289054148</c:v>
                </c:pt>
                <c:pt idx="4">
                  <c:v>206.19324623974941</c:v>
                </c:pt>
                <c:pt idx="5">
                  <c:v>180.43076070528969</c:v>
                </c:pt>
                <c:pt idx="7">
                  <c:v>192.7145104100334</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5694871419000003</c:v>
                </c:pt>
                <c:pt idx="2">
                  <c:v>3.6313305761135308</c:v>
                </c:pt>
                <c:pt idx="3">
                  <c:v>3.6313305761135308</c:v>
                </c:pt>
                <c:pt idx="4">
                  <c:v>3.7438636848600004</c:v>
                </c:pt>
                <c:pt idx="6">
                  <c:v>3.8003866848600003</c:v>
                </c:pt>
                <c:pt idx="7">
                  <c:v>3.8003866848600003</c:v>
                </c:pt>
                <c:pt idx="8">
                  <c:v>3.8003866848600003</c:v>
                </c:pt>
                <c:pt idx="9">
                  <c:v>3.981052593360000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5280701419000002</c:v>
                </c:pt>
                <c:pt idx="5">
                  <c:v>3.7024466848600004</c:v>
                </c:pt>
                <c:pt idx="10">
                  <c:v>3.883112593360000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1843434213530481E-2</c:v>
                </c:pt>
                <c:pt idx="3">
                  <c:v>0.1125331087464697</c:v>
                </c:pt>
                <c:pt idx="8">
                  <c:v>0.1806659085000004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1417000000000002E-2</c:v>
                </c:pt>
                <c:pt idx="5">
                  <c:v>9.7939999999999999E-2</c:v>
                </c:pt>
                <c:pt idx="10">
                  <c:v>0.10021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5.6522999999999997E-2</c:v>
                </c:pt>
                <c:pt idx="9">
                  <c:v>2.2780000000000022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5694871419000003</c:v>
                </c:pt>
                <c:pt idx="5">
                  <c:v>3.8003866848600003</c:v>
                </c:pt>
                <c:pt idx="10">
                  <c:v>3.983330593360000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Klantenpotentieel regionaal</c:v>
                </c:pt>
                <c:pt idx="4">
                  <c:v>Opp. historische kernen &lt;40 ha</c:v>
                </c:pt>
                <c:pt idx="10">
                  <c:v>Overig</c:v>
                </c:pt>
              </c:strCache>
            </c:strRef>
          </c:cat>
          <c:val>
            <c:numRef>
              <c:f>Sheet1!$B$2:$B$12</c:f>
              <c:numCache>
                <c:formatCode>General</c:formatCode>
                <c:ptCount val="11"/>
                <c:pt idx="0">
                  <c:v>1.8019783267200002</c:v>
                </c:pt>
                <c:pt idx="1">
                  <c:v>1.0260057600000001</c:v>
                </c:pt>
                <c:pt idx="2">
                  <c:v>0.96590108264000007</c:v>
                </c:pt>
                <c:pt idx="3">
                  <c:v>8.9227424000000014E-2</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8.21704722091602</c:v>
                </c:pt>
                <c:pt idx="1">
                  <c:v>-152.03328260011125</c:v>
                </c:pt>
                <c:pt idx="2">
                  <c:v>-142.3602968576195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8.21704722091602</c:v>
                </c:pt>
                <c:pt idx="1">
                  <c:v>-152.03328260011125</c:v>
                </c:pt>
                <c:pt idx="2">
                  <c:v>-142.3602968576195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00218</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1093162619885213</c:v>
                </c:pt>
                <c:pt idx="1">
                  <c:v>4.3230554820943077</c:v>
                </c:pt>
                <c:pt idx="2">
                  <c:v>4.565612014997972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2047999999999997E-2</c:v>
                </c:pt>
                <c:pt idx="1">
                  <c:v>5.2047999999999997E-2</c:v>
                </c:pt>
                <c:pt idx="2">
                  <c:v>5.2047999999999997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1613642619885214</c:v>
                </c:pt>
                <c:pt idx="1">
                  <c:v>4.3751034820943078</c:v>
                </c:pt>
                <c:pt idx="2">
                  <c:v>4.617660014997972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3.23409489271705</c:v>
                </c:pt>
                <c:pt idx="1">
                  <c:v>200.36408426466016</c:v>
                </c:pt>
                <c:pt idx="2">
                  <c:v>211.6060444474403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4474748424715509</c:v>
                </c:pt>
                <c:pt idx="1">
                  <c:v>2.4123099740452356</c:v>
                </c:pt>
                <c:pt idx="2">
                  <c:v>2.412309974045235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5.68156973518865</c:v>
                </c:pt>
                <c:pt idx="1">
                  <c:v>202.77639423870539</c:v>
                </c:pt>
                <c:pt idx="2">
                  <c:v>214.0183544214855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211.60604444744033</c:v>
                </c:pt>
                <c:pt idx="2">
                  <c:v>270.63205536122018</c:v>
                </c:pt>
                <c:pt idx="3">
                  <c:v>245.66361006183212</c:v>
                </c:pt>
                <c:pt idx="4">
                  <c:v>217.33551315085313</c:v>
                </c:pt>
                <c:pt idx="5">
                  <c:v>352.32909842123667</c:v>
                </c:pt>
                <c:pt idx="7">
                  <c:v>271.49006924878552</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2.4123099740452356</c:v>
                </c:pt>
                <c:pt idx="2">
                  <c:v>1.9581251156764761</c:v>
                </c:pt>
                <c:pt idx="3">
                  <c:v>8.2069718800836622</c:v>
                </c:pt>
                <c:pt idx="4">
                  <c:v>0.98604072606652537</c:v>
                </c:pt>
                <c:pt idx="5">
                  <c:v>2.0495076711701397</c:v>
                </c:pt>
                <c:pt idx="7">
                  <c:v>3.3001613482492007</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214.01835442148555</c:v>
                </c:pt>
                <c:pt idx="2">
                  <c:v>272.59018047689665</c:v>
                </c:pt>
                <c:pt idx="3">
                  <c:v>253.87058194191576</c:v>
                </c:pt>
                <c:pt idx="4">
                  <c:v>218.32155387691964</c:v>
                </c:pt>
                <c:pt idx="5">
                  <c:v>354.37860609240681</c:v>
                </c:pt>
                <c:pt idx="7">
                  <c:v>274.79023059703474</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1613642619885214</c:v>
                </c:pt>
                <c:pt idx="2">
                  <c:v>4.2439748637863959</c:v>
                </c:pt>
                <c:pt idx="3">
                  <c:v>4.2439748637863959</c:v>
                </c:pt>
                <c:pt idx="4">
                  <c:v>4.3751034820943078</c:v>
                </c:pt>
                <c:pt idx="6">
                  <c:v>4.3751034820943078</c:v>
                </c:pt>
                <c:pt idx="7">
                  <c:v>4.4056285990564241</c:v>
                </c:pt>
                <c:pt idx="8">
                  <c:v>4.4056285990564241</c:v>
                </c:pt>
                <c:pt idx="9">
                  <c:v>4.617660014997972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1093162619885213</c:v>
                </c:pt>
                <c:pt idx="5">
                  <c:v>4.3230554820943077</c:v>
                </c:pt>
                <c:pt idx="10">
                  <c:v>4.565612014997972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5271109562360489E-2</c:v>
                </c:pt>
                <c:pt idx="3">
                  <c:v>0.13112861830791189</c:v>
                </c:pt>
                <c:pt idx="6">
                  <c:v>4.7627532621184902E-2</c:v>
                </c:pt>
                <c:pt idx="8">
                  <c:v>0.2120314159415482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6605077644859931E-3</c:v>
                </c:pt>
                <c:pt idx="7">
                  <c:v>1.7102415659068431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5.2047999999999997E-2</c:v>
                </c:pt>
                <c:pt idx="5">
                  <c:v>5.2047999999999997E-2</c:v>
                </c:pt>
                <c:pt idx="10">
                  <c:v>5.204799999999999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1613642619885214</c:v>
                </c:pt>
                <c:pt idx="5">
                  <c:v>4.3751034820943078</c:v>
                </c:pt>
                <c:pt idx="10">
                  <c:v>4.617660014997972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Opp. bebouwing kern *bodemfactor kern</c:v>
                </c:pt>
                <c:pt idx="3">
                  <c:v>Inwoners</c:v>
                </c:pt>
                <c:pt idx="4">
                  <c:v>Oppervlak bebouwing woonkernen</c:v>
                </c:pt>
                <c:pt idx="5">
                  <c:v>Woonruimten * bodemfactor kern</c:v>
                </c:pt>
                <c:pt idx="6">
                  <c:v>Bedrijfsvestigingen</c:v>
                </c:pt>
                <c:pt idx="7">
                  <c:v>Land</c:v>
                </c:pt>
                <c:pt idx="8">
                  <c:v>Land * bodemfactor gemeente</c:v>
                </c:pt>
                <c:pt idx="9">
                  <c:v>Opp. bebouwing totaal</c:v>
                </c:pt>
                <c:pt idx="10">
                  <c:v>Overig</c:v>
                </c:pt>
              </c:strCache>
            </c:strRef>
          </c:cat>
          <c:val>
            <c:numRef>
              <c:f>Sheet1!$B$2:$B$12</c:f>
              <c:numCache>
                <c:formatCode>General</c:formatCode>
                <c:ptCount val="11"/>
                <c:pt idx="0">
                  <c:v>0.77242365199999996</c:v>
                </c:pt>
                <c:pt idx="1">
                  <c:v>0.63694540910000008</c:v>
                </c:pt>
                <c:pt idx="2">
                  <c:v>0.61257171923999998</c:v>
                </c:pt>
                <c:pt idx="3">
                  <c:v>0.56761795584000008</c:v>
                </c:pt>
                <c:pt idx="4">
                  <c:v>0.45305272896000004</c:v>
                </c:pt>
                <c:pt idx="5">
                  <c:v>0.44440623500000004</c:v>
                </c:pt>
                <c:pt idx="6">
                  <c:v>0.25981094048000003</c:v>
                </c:pt>
                <c:pt idx="7">
                  <c:v>0.13780149759999999</c:v>
                </c:pt>
                <c:pt idx="8">
                  <c:v>0.12535427840000002</c:v>
                </c:pt>
                <c:pt idx="9">
                  <c:v>0.10682762688</c:v>
                </c:pt>
                <c:pt idx="10">
                  <c:v>0.4487999714979720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5.2047999999999997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66825158598497636</c:v>
                </c:pt>
                <c:pt idx="1">
                  <c:v>-0.70132543892751453</c:v>
                </c:pt>
                <c:pt idx="2">
                  <c:v>-0.74361333844084998</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66825158598497636</c:v>
                </c:pt>
                <c:pt idx="1">
                  <c:v>-0.70132543892751453</c:v>
                </c:pt>
                <c:pt idx="2">
                  <c:v>-0.74361333844084998</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423473431062558</c:v>
                </c:pt>
                <c:pt idx="1">
                  <c:v>-32.504886861675679</c:v>
                </c:pt>
                <c:pt idx="2">
                  <c:v>-34.464837710458383</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423473431062558</c:v>
                </c:pt>
                <c:pt idx="1">
                  <c:v>-32.504886861675679</c:v>
                </c:pt>
                <c:pt idx="2">
                  <c:v>-34.464837710458383</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34.464837710458383</c:v>
                </c:pt>
                <c:pt idx="2">
                  <c:v>-40.612901417855973</c:v>
                </c:pt>
                <c:pt idx="3">
                  <c:v>-37.933543749312129</c:v>
                </c:pt>
                <c:pt idx="4">
                  <c:v>-28.801943915406969</c:v>
                </c:pt>
                <c:pt idx="5">
                  <c:v>-55.31833969007787</c:v>
                </c:pt>
                <c:pt idx="7">
                  <c:v>-40.666682193163233</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34.464837710458383</c:v>
                </c:pt>
                <c:pt idx="2">
                  <c:v>-40.612901417855973</c:v>
                </c:pt>
                <c:pt idx="3">
                  <c:v>-37.933543749312129</c:v>
                </c:pt>
                <c:pt idx="4">
                  <c:v>-28.801943915406969</c:v>
                </c:pt>
                <c:pt idx="5">
                  <c:v>-55.31833969007787</c:v>
                </c:pt>
                <c:pt idx="7">
                  <c:v>-40.666682193163233</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142.36029685761957</c:v>
                </c:pt>
                <c:pt idx="2">
                  <c:v>-140.68094816398298</c:v>
                </c:pt>
                <c:pt idx="3">
                  <c:v>-153.38264052242621</c:v>
                </c:pt>
                <c:pt idx="4">
                  <c:v>-104.1554913295863</c:v>
                </c:pt>
                <c:pt idx="5">
                  <c:v>-214.40640426837646</c:v>
                </c:pt>
                <c:pt idx="7">
                  <c:v>-153.15637107109299</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142.36029685761957</c:v>
                </c:pt>
                <c:pt idx="2">
                  <c:v>-140.68094816398298</c:v>
                </c:pt>
                <c:pt idx="3">
                  <c:v>-153.38264052242621</c:v>
                </c:pt>
                <c:pt idx="4">
                  <c:v>-104.1554913295863</c:v>
                </c:pt>
                <c:pt idx="5">
                  <c:v>-214.40640426837646</c:v>
                </c:pt>
                <c:pt idx="7">
                  <c:v>-153.15637107109299</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68000997365436344</c:v>
                </c:pt>
                <c:pt idx="2">
                  <c:v>-0.68000997365436344</c:v>
                </c:pt>
                <c:pt idx="3">
                  <c:v>-0.70132543892751453</c:v>
                </c:pt>
                <c:pt idx="4">
                  <c:v>-0.70132543892751453</c:v>
                </c:pt>
                <c:pt idx="6">
                  <c:v>-0.70908480130655904</c:v>
                </c:pt>
                <c:pt idx="7">
                  <c:v>-0.70908480130655904</c:v>
                </c:pt>
                <c:pt idx="8">
                  <c:v>-0.74361333844084998</c:v>
                </c:pt>
                <c:pt idx="9">
                  <c:v>-0.743613338440849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66825158598497636</c:v>
                </c:pt>
                <c:pt idx="5">
                  <c:v>-0.70132543892751453</c:v>
                </c:pt>
                <c:pt idx="10">
                  <c:v>-0.7436133384408499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175838766938705E-2</c:v>
                </c:pt>
                <c:pt idx="3">
                  <c:v>2.1315465273151125E-2</c:v>
                </c:pt>
                <c:pt idx="6">
                  <c:v>7.7593623790445029E-3</c:v>
                </c:pt>
                <c:pt idx="8">
                  <c:v>3.452853713429094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66825158598497636</c:v>
                </c:pt>
                <c:pt idx="5">
                  <c:v>-0.70132543892751453</c:v>
                </c:pt>
                <c:pt idx="10">
                  <c:v>-0.743613338440849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mgevingsadressendichtheid</c:v>
                </c:pt>
                <c:pt idx="4">
                  <c:v>Oeverlengte *dichtheid *bodemf. gem.</c:v>
                </c:pt>
                <c:pt idx="5">
                  <c:v>Land</c:v>
                </c:pt>
                <c:pt idx="6">
                  <c:v>Oeverlengte * bodemfactor gemeente</c:v>
                </c:pt>
                <c:pt idx="7">
                  <c:v>Land * bodemfactor gemeente</c:v>
                </c:pt>
                <c:pt idx="10">
                  <c:v>Overig</c:v>
                </c:pt>
              </c:strCache>
            </c:strRef>
          </c:cat>
          <c:val>
            <c:numRef>
              <c:f>Sheet1!$B$2:$B$12</c:f>
              <c:numCache>
                <c:formatCode>General</c:formatCode>
                <c:ptCount val="11"/>
                <c:pt idx="0">
                  <c:v>-0.8817627910000001</c:v>
                </c:pt>
                <c:pt idx="1">
                  <c:v>0.25765885600000005</c:v>
                </c:pt>
                <c:pt idx="2">
                  <c:v>-0.19024940064000001</c:v>
                </c:pt>
                <c:pt idx="3">
                  <c:v>4.9259286440000001E-2</c:v>
                </c:pt>
                <c:pt idx="4">
                  <c:v>2.2352222439149923E-2</c:v>
                </c:pt>
                <c:pt idx="5">
                  <c:v>-1.4554425600000002E-2</c:v>
                </c:pt>
                <c:pt idx="6">
                  <c:v>7.2632851199999999E-3</c:v>
                </c:pt>
                <c:pt idx="7">
                  <c:v>6.4196288000000004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808982368384002</c:v>
                </c:pt>
                <c:pt idx="1">
                  <c:v>1.45402517451712</c:v>
                </c:pt>
                <c:pt idx="2">
                  <c:v>1.54225459866399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808982368384002</c:v>
                </c:pt>
                <c:pt idx="1">
                  <c:v>1.45402517451712</c:v>
                </c:pt>
                <c:pt idx="2">
                  <c:v>1.54225459866399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4.934554539565511</c:v>
                </c:pt>
                <c:pt idx="1">
                  <c:v>67.390859033978501</c:v>
                </c:pt>
                <c:pt idx="2">
                  <c:v>71.4800981954022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4.934554539565511</c:v>
                </c:pt>
                <c:pt idx="1">
                  <c:v>67.390859033978501</c:v>
                </c:pt>
                <c:pt idx="2">
                  <c:v>71.48009819540229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71.480098195402292</c:v>
                </c:pt>
                <c:pt idx="2">
                  <c:v>78.038406092148804</c:v>
                </c:pt>
                <c:pt idx="3">
                  <c:v>85.544899928845936</c:v>
                </c:pt>
                <c:pt idx="4">
                  <c:v>69.619191563659811</c:v>
                </c:pt>
                <c:pt idx="5">
                  <c:v>142.50805771346921</c:v>
                </c:pt>
                <c:pt idx="7">
                  <c:v>93.927638824530945</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71.480098195402292</c:v>
                </c:pt>
                <c:pt idx="2">
                  <c:v>78.038406092148804</c:v>
                </c:pt>
                <c:pt idx="3">
                  <c:v>85.544899928845936</c:v>
                </c:pt>
                <c:pt idx="4">
                  <c:v>69.619191563659811</c:v>
                </c:pt>
                <c:pt idx="5">
                  <c:v>142.50805771346921</c:v>
                </c:pt>
                <c:pt idx="7">
                  <c:v>93.927638824530945</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3808982368384002</c:v>
                </c:pt>
                <c:pt idx="2">
                  <c:v>1.4099213200467948</c:v>
                </c:pt>
                <c:pt idx="3">
                  <c:v>1.4099213200467948</c:v>
                </c:pt>
                <c:pt idx="4">
                  <c:v>1.45402517451712</c:v>
                </c:pt>
                <c:pt idx="6">
                  <c:v>1.45402517451712</c:v>
                </c:pt>
                <c:pt idx="7">
                  <c:v>1.4706510616020259</c:v>
                </c:pt>
                <c:pt idx="8">
                  <c:v>1.4706510616020259</c:v>
                </c:pt>
                <c:pt idx="9">
                  <c:v>1.5422545986639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3808982368384002</c:v>
                </c:pt>
                <c:pt idx="5">
                  <c:v>1.45402517451712</c:v>
                </c:pt>
                <c:pt idx="10">
                  <c:v>1.54225459866399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9023083208394723E-2</c:v>
                </c:pt>
                <c:pt idx="3">
                  <c:v>4.4103854470325089E-2</c:v>
                </c:pt>
                <c:pt idx="6">
                  <c:v>1.6625887084905928E-2</c:v>
                </c:pt>
                <c:pt idx="8">
                  <c:v>7.1603537061974018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3808982368384002</c:v>
                </c:pt>
                <c:pt idx="5">
                  <c:v>1.45402517451712</c:v>
                </c:pt>
                <c:pt idx="10">
                  <c:v>1.54225459866399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Woz waarde niet woningen (in mln)</c:v>
                </c:pt>
                <c:pt idx="3">
                  <c:v>Kernen met minstens 500 adressen</c:v>
                </c:pt>
                <c:pt idx="4">
                  <c:v>Minderheden</c:v>
                </c:pt>
                <c:pt idx="5">
                  <c:v>Opp. bebouwing totaal</c:v>
                </c:pt>
                <c:pt idx="6">
                  <c:v>Huishoudens laag inkomen (drempel)</c:v>
                </c:pt>
                <c:pt idx="7">
                  <c:v>Bedrijfsvestigingen</c:v>
                </c:pt>
                <c:pt idx="8">
                  <c:v>Land</c:v>
                </c:pt>
                <c:pt idx="9">
                  <c:v>Klantenpotentieel regionaal</c:v>
                </c:pt>
                <c:pt idx="10">
                  <c:v>Overig</c:v>
                </c:pt>
              </c:strCache>
            </c:strRef>
          </c:cat>
          <c:val>
            <c:numRef>
              <c:f>Sheet1!$B$2:$B$12</c:f>
              <c:numCache>
                <c:formatCode>General</c:formatCode>
                <c:ptCount val="11"/>
                <c:pt idx="0">
                  <c:v>0.81085131399999999</c:v>
                </c:pt>
                <c:pt idx="1">
                  <c:v>0.21595793128000002</c:v>
                </c:pt>
                <c:pt idx="2">
                  <c:v>0.20351050574400004</c:v>
                </c:pt>
                <c:pt idx="3">
                  <c:v>8.9495660800000015E-2</c:v>
                </c:pt>
                <c:pt idx="4">
                  <c:v>6.4312029600000015E-2</c:v>
                </c:pt>
                <c:pt idx="5">
                  <c:v>2.9749524480000004E-2</c:v>
                </c:pt>
                <c:pt idx="6">
                  <c:v>2.5496439799999999E-2</c:v>
                </c:pt>
                <c:pt idx="7">
                  <c:v>2.3559057600000002E-2</c:v>
                </c:pt>
                <c:pt idx="8">
                  <c:v>2.3473299200000002E-2</c:v>
                </c:pt>
                <c:pt idx="9">
                  <c:v>2.0278960000000002E-2</c:v>
                </c:pt>
                <c:pt idx="10">
                  <c:v>3.556987616000029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722187643105003</c:v>
                </c:pt>
                <c:pt idx="1">
                  <c:v>2.3848936038938997</c:v>
                </c:pt>
                <c:pt idx="2">
                  <c:v>2.507360954019999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7.7780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722187643105003</c:v>
                </c:pt>
                <c:pt idx="1">
                  <c:v>2.3848936038938997</c:v>
                </c:pt>
                <c:pt idx="2">
                  <c:v>2.58514095401999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6.84749197359636</c:v>
                </c:pt>
                <c:pt idx="1">
                  <c:v>110.53455709556451</c:v>
                </c:pt>
                <c:pt idx="2">
                  <c:v>116.21064859195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3.604931405265109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6.84749197359636</c:v>
                </c:pt>
                <c:pt idx="1">
                  <c:v>110.53455709556451</c:v>
                </c:pt>
                <c:pt idx="2">
                  <c:v>119.815579997219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2752695284210751</c:v>
                </c:pt>
                <c:pt idx="2">
                  <c:v>-3.2752695284210751</c:v>
                </c:pt>
                <c:pt idx="3">
                  <c:v>-3.2802701053800005</c:v>
                </c:pt>
                <c:pt idx="4">
                  <c:v>-3.2802701053800005</c:v>
                </c:pt>
                <c:pt idx="6">
                  <c:v>-3.2970959108461111</c:v>
                </c:pt>
                <c:pt idx="7">
                  <c:v>-3.2970959108461111</c:v>
                </c:pt>
                <c:pt idx="8">
                  <c:v>-3.071565764999999</c:v>
                </c:pt>
                <c:pt idx="9">
                  <c:v>-3.071565764999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1519837262000001</c:v>
                </c:pt>
                <c:pt idx="5">
                  <c:v>-3.2802701053800001</c:v>
                </c:pt>
                <c:pt idx="10">
                  <c:v>-3.071565764999999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0925819964130439E-2</c:v>
                </c:pt>
                <c:pt idx="7">
                  <c:v>0.7539947568633349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2328580222107494</c:v>
                </c:pt>
                <c:pt idx="3">
                  <c:v>5.5926396923055455E-2</c:v>
                </c:pt>
                <c:pt idx="6">
                  <c:v>1.6825805466111107E-2</c:v>
                </c:pt>
                <c:pt idx="8">
                  <c:v>0.5284646110172230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1519837262000001</c:v>
                </c:pt>
                <c:pt idx="5">
                  <c:v>-3.2802701053800001</c:v>
                </c:pt>
                <c:pt idx="10">
                  <c:v>-3.071565764999999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C$2:$C$10</c:f>
              <c:numCache>
                <c:formatCode>General</c:formatCode>
                <c:ptCount val="9"/>
                <c:pt idx="0">
                  <c:v>116.210648591954</c:v>
                </c:pt>
                <c:pt idx="2">
                  <c:v>119.74112456641683</c:v>
                </c:pt>
                <c:pt idx="3">
                  <c:v>119.54937774187312</c:v>
                </c:pt>
                <c:pt idx="4">
                  <c:v>115.94865265898832</c:v>
                </c:pt>
                <c:pt idx="5">
                  <c:v>133.54227895177468</c:v>
                </c:pt>
                <c:pt idx="7">
                  <c:v>122.19535847976324</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D$2:$D$10</c:f>
              <c:numCache>
                <c:formatCode>General</c:formatCode>
                <c:ptCount val="9"/>
                <c:pt idx="0">
                  <c:v>3.6049314052651096</c:v>
                </c:pt>
                <c:pt idx="2">
                  <c:v>3.5989265223024245</c:v>
                </c:pt>
                <c:pt idx="3">
                  <c:v>3.6151522193818266</c:v>
                </c:pt>
                <c:pt idx="4">
                  <c:v>3.5833410117018336</c:v>
                </c:pt>
                <c:pt idx="5">
                  <c:v>3.5621708266544538</c:v>
                </c:pt>
                <c:pt idx="7">
                  <c:v>3.5898976450101343</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unschoten</c:v>
                </c:pt>
                <c:pt idx="2">
                  <c:v>Zundert</c:v>
                </c:pt>
                <c:pt idx="3">
                  <c:v>Geertruidenberg</c:v>
                </c:pt>
                <c:pt idx="4">
                  <c:v>Stede Broec</c:v>
                </c:pt>
                <c:pt idx="5">
                  <c:v>Veere</c:v>
                </c:pt>
                <c:pt idx="7">
                  <c:v>4 gemeenten</c:v>
                </c:pt>
                <c:pt idx="8">
                  <c:v>Landelijk</c:v>
                </c:pt>
              </c:strCache>
            </c:strRef>
          </c:cat>
          <c:val>
            <c:numRef>
              <c:f>Sheet1!$B$2:$B$10</c:f>
              <c:numCache>
                <c:formatCode>General</c:formatCode>
                <c:ptCount val="9"/>
                <c:pt idx="0">
                  <c:v>119.81557999721913</c:v>
                </c:pt>
                <c:pt idx="2">
                  <c:v>123.34005108871928</c:v>
                </c:pt>
                <c:pt idx="3">
                  <c:v>123.16452996125494</c:v>
                </c:pt>
                <c:pt idx="4">
                  <c:v>119.53199367069016</c:v>
                </c:pt>
                <c:pt idx="5">
                  <c:v>137.10444977842914</c:v>
                </c:pt>
                <c:pt idx="7">
                  <c:v>125.78525612477338</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2722187643105003</c:v>
                </c:pt>
                <c:pt idx="2">
                  <c:v>2.303022212384116</c:v>
                </c:pt>
                <c:pt idx="3">
                  <c:v>2.3123258355592844</c:v>
                </c:pt>
                <c:pt idx="4">
                  <c:v>2.3848936038938997</c:v>
                </c:pt>
                <c:pt idx="6">
                  <c:v>2.3848936038938997</c:v>
                </c:pt>
                <c:pt idx="7">
                  <c:v>2.3907168212924783</c:v>
                </c:pt>
                <c:pt idx="8">
                  <c:v>2.3907168212924783</c:v>
                </c:pt>
                <c:pt idx="9">
                  <c:v>2.507360954019999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722187643105003</c:v>
                </c:pt>
                <c:pt idx="5">
                  <c:v>2.3848936038938997</c:v>
                </c:pt>
                <c:pt idx="10">
                  <c:v>2.507360954019999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0803448073615753E-2</c:v>
                </c:pt>
                <c:pt idx="2">
                  <c:v>9.303623175168552E-3</c:v>
                </c:pt>
                <c:pt idx="3">
                  <c:v>7.2567768334615104E-2</c:v>
                </c:pt>
                <c:pt idx="6">
                  <c:v>6.8203950792173436E-3</c:v>
                </c:pt>
                <c:pt idx="8">
                  <c:v>0.1166441327275211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9.9717768063847692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7.7780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7.7780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2722187643105003</c:v>
                </c:pt>
                <c:pt idx="5">
                  <c:v>2.3848936038938997</c:v>
                </c:pt>
                <c:pt idx="10">
                  <c:v>2.58514095401999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Bedrijfsvestigingen</c:v>
                </c:pt>
                <c:pt idx="5">
                  <c:v>Klantenpotentieel regionaal</c:v>
                </c:pt>
                <c:pt idx="6">
                  <c:v>Minderheden</c:v>
                </c:pt>
                <c:pt idx="7">
                  <c:v>Bewoonde oorden 1930</c:v>
                </c:pt>
                <c:pt idx="8">
                  <c:v>Land</c:v>
                </c:pt>
                <c:pt idx="9">
                  <c:v>Minderheden (drempel)</c:v>
                </c:pt>
                <c:pt idx="10">
                  <c:v>Overig</c:v>
                </c:pt>
              </c:strCache>
            </c:strRef>
          </c:cat>
          <c:val>
            <c:numRef>
              <c:f>Sheet1!$B$2:$B$12</c:f>
              <c:numCache>
                <c:formatCode>General</c:formatCode>
                <c:ptCount val="11"/>
                <c:pt idx="0">
                  <c:v>1.7748495273600002</c:v>
                </c:pt>
                <c:pt idx="1">
                  <c:v>0.45753799000000006</c:v>
                </c:pt>
                <c:pt idx="2">
                  <c:v>0.28248488112000003</c:v>
                </c:pt>
                <c:pt idx="3">
                  <c:v>-5.6273025900000009E-2</c:v>
                </c:pt>
                <c:pt idx="4">
                  <c:v>2.690692368E-2</c:v>
                </c:pt>
                <c:pt idx="5">
                  <c:v>-2.6565437600000002E-2</c:v>
                </c:pt>
                <c:pt idx="6">
                  <c:v>2.3313388800000005E-2</c:v>
                </c:pt>
                <c:pt idx="7">
                  <c:v>2.0157221760000003E-2</c:v>
                </c:pt>
                <c:pt idx="8">
                  <c:v>4.9494847999999999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7.7780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OZB (niet-woningen eigenaar)</c:v>
                </c:pt>
                <c:pt idx="2">
                  <c:v>OZB (niet-woningen gebruiker)</c:v>
                </c:pt>
                <c:pt idx="3">
                  <c:v>Woonruimten</c:v>
                </c:pt>
                <c:pt idx="4">
                  <c:v>Vast bedrag voor iedere gemeente</c:v>
                </c:pt>
                <c:pt idx="10">
                  <c:v>Overig</c:v>
                </c:pt>
              </c:strCache>
            </c:strRef>
          </c:cat>
          <c:val>
            <c:numRef>
              <c:f>Sheet1!$B$2:$B$12</c:f>
              <c:numCache>
                <c:formatCode>General</c:formatCode>
                <c:ptCount val="11"/>
                <c:pt idx="0">
                  <c:v>-1.8201575999999999</c:v>
                </c:pt>
                <c:pt idx="1">
                  <c:v>-0.47462881200000001</c:v>
                </c:pt>
                <c:pt idx="2">
                  <c:v>-0.46351858700000004</c:v>
                </c:pt>
                <c:pt idx="3">
                  <c:v>-0.36962434599999999</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424523848999343</c:v>
                </c:pt>
                <c:pt idx="1">
                  <c:v>1.3715741347185211</c:v>
                </c:pt>
                <c:pt idx="2">
                  <c:v>1.43957009194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4594999999999998E-2</c:v>
                </c:pt>
                <c:pt idx="1">
                  <c:v>1.050624</c:v>
                </c:pt>
                <c:pt idx="2">
                  <c:v>1.06837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970473848999342</c:v>
                </c:pt>
                <c:pt idx="1">
                  <c:v>2.4221981347185211</c:v>
                </c:pt>
                <c:pt idx="2">
                  <c:v>2.50794809194959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26.436841601474665</cx:pt>
          <cx:pt idx="1">-3.0715657649999994</cx:pt>
          <cx:pt idx="2">23.365275836474666</cx:pt>
          <cx:pt idx="3">1.8230959999999996</cx:pt>
          <cx:pt idx="4">25.188371836474666</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6-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Bunschoten</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Bunschoten is ca. 25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3177397404"/>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5,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1,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3,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6,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Bunschoten is ca. 25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3632528206"/>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1949284757"/>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1710776861"/>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82011421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Bunschoten is ca. 25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674231230"/>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4,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03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6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3,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Bunschoten ca. 1.167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4252231512"/>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Bunschot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6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1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9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250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8642471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43586003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83564167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6371651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82569577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2966514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3538595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17078667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191689131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9175584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30112005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35858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81677895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5829047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8643937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6509948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01114031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8205873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1610228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09112854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34025422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66018275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4467193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78043607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45036357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3984919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18275871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29291063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17006745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25131936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23136908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065102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89817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4543174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60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05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05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99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8112521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6922457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8780648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7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0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27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91656917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37375873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74715554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41674847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62326577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7693736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8236617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16419574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7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71807853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6827707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28703146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0419497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787027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79419739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49547446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26981780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89524971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0176036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4299554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60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05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05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37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5158842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60151460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6941744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7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0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27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75973415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044776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xtra groei 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38519863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36414232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77554290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62882185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9331284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47491873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900182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8918364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71638450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81053784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32298535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22222959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5613370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22897978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47380725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3802593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39189039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73603046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76330457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13985633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93944735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2837666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34631610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4058263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38751142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20157592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045232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9427579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02287624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55558187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96839757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55653768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7148984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72368953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7509581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6158328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278635274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16877813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02011693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23830608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110527208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3779533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12749232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45276244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6477314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41023569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3292682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9714878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55666999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8214438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Bunschoten,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798086783"/>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5,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30572859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3388097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93726330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66006634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94396592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16839507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93540720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1588684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1.26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1.57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02558711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17861682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6409500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6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51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7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1.8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6.66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6906698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93038827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54495126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35940358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1779315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Bunschoten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63633773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Bunschoten is ca. 25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424896788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03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6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72</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Bunschoten ca. 1.167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3600204373"/>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Bunschot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1.576</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Zundert</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1.61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Geertruidenberg</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1.51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Stede Broec</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1.70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Veer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1.83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156250677"/>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Bunschot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6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9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250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Bunschoten</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1825727166"/>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442273688"/>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Bunschoten,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2</TotalTime>
  <Words>9711</Words>
  <Application>Microsoft Office PowerPoint</Application>
  <PresentationFormat>Widescreen</PresentationFormat>
  <Paragraphs>2185</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Bunschoten is ca. 25 mln (1/3)</vt:lpstr>
      <vt:lpstr>Totale uitkering voor Bunschoten is ca. 25 mln (2/3)</vt:lpstr>
      <vt:lpstr>Totale uitkering voor Bunschoten is ca. 25 mln (3/3)</vt:lpstr>
      <vt:lpstr>Per inwoner ontvangt Bunschoten ca. 1.167 euro</vt:lpstr>
      <vt:lpstr>Dit is ca. 250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Bunschoten is ca. 25 mln</vt:lpstr>
      <vt:lpstr>Per inwoner ontvangt Bunschoten ca. 1.167 euro</vt:lpstr>
      <vt:lpstr>Dit is ca. €250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6T09:42:57Z</dcterms:modified>
</cp:coreProperties>
</file>